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2" r:id="rId8"/>
    <p:sldId id="277" r:id="rId9"/>
    <p:sldId id="278" r:id="rId10"/>
    <p:sldId id="268" r:id="rId11"/>
    <p:sldId id="263" r:id="rId12"/>
    <p:sldId id="275" r:id="rId13"/>
    <p:sldId id="274" r:id="rId14"/>
    <p:sldId id="276" r:id="rId15"/>
    <p:sldId id="270" r:id="rId16"/>
    <p:sldId id="269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2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8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8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8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8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8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&lt; anything &gt;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2641912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983432" y="5838132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080142" y="5838132"/>
            <a:ext cx="4315681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755348" y="5836186"/>
            <a:ext cx="3168352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Founded in 2014 (spin-off from SkabelonDesign)</a:t>
            </a:r>
          </a:p>
          <a:p>
            <a:pPr lvl="1"/>
            <a:r>
              <a:rPr lang="da-DK" dirty="0"/>
              <a:t>Approx. 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Personalizing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: .NET, Azure, React, VSTO, git, VSTS, Azure SQL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pPr lvl="1"/>
            <a:r>
              <a:rPr lang="da-DK" dirty="0"/>
              <a:t>React, Webpack and TypeScript documentation sites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80</TotalTime>
  <Words>497</Words>
  <Application>Microsoft Office PowerPoint</Application>
  <PresentationFormat>Widescreen</PresentationFormat>
  <Paragraphs>244</Paragraphs>
  <Slides>16</Slides>
  <Notes>0</Notes>
  <HiddenSlides>7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 </vt:lpstr>
      <vt:lpstr>Why this talk?</vt:lpstr>
      <vt:lpstr>Templafy</vt:lpstr>
      <vt:lpstr>Our Rewrite Story</vt:lpstr>
      <vt:lpstr>React Reconcillation</vt:lpstr>
      <vt:lpstr>Visual Studio</vt:lpstr>
      <vt:lpstr>Thank you!</vt:lpstr>
      <vt:lpstr>React</vt:lpstr>
      <vt:lpstr>React Component Lifecycle</vt:lpstr>
      <vt:lpstr>TypeScript</vt:lpstr>
      <vt:lpstr>Webpack</vt:lpstr>
      <vt:lpstr>Webpack Hot Module Reload</vt:lpstr>
      <vt:lpstr>Javascript Versions</vt:lpstr>
      <vt:lpstr>Why not Angular 2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95</cp:revision>
  <cp:lastPrinted>2016-09-01T12:11:25Z</cp:lastPrinted>
  <dcterms:created xsi:type="dcterms:W3CDTF">2016-09-08T09:03:45Z</dcterms:created>
  <dcterms:modified xsi:type="dcterms:W3CDTF">2017-03-28T09:0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